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7199313" cy="1079976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5A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98" d="100"/>
          <a:sy n="98" d="100"/>
        </p:scale>
        <p:origin x="91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949" y="1767462"/>
            <a:ext cx="6119416" cy="3759917"/>
          </a:xfrm>
        </p:spPr>
        <p:txBody>
          <a:bodyPr anchor="b"/>
          <a:lstStyle>
            <a:lvl1pPr algn="ctr">
              <a:defRPr sz="472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9914" y="5672376"/>
            <a:ext cx="5399485" cy="2607442"/>
          </a:xfrm>
        </p:spPr>
        <p:txBody>
          <a:bodyPr/>
          <a:lstStyle>
            <a:lvl1pPr marL="0" indent="0" algn="ctr">
              <a:buNone/>
              <a:defRPr sz="1890"/>
            </a:lvl1pPr>
            <a:lvl2pPr marL="359954" indent="0" algn="ctr">
              <a:buNone/>
              <a:defRPr sz="1575"/>
            </a:lvl2pPr>
            <a:lvl3pPr marL="719907" indent="0" algn="ctr">
              <a:buNone/>
              <a:defRPr sz="1417"/>
            </a:lvl3pPr>
            <a:lvl4pPr marL="1079861" indent="0" algn="ctr">
              <a:buNone/>
              <a:defRPr sz="1260"/>
            </a:lvl4pPr>
            <a:lvl5pPr marL="1439814" indent="0" algn="ctr">
              <a:buNone/>
              <a:defRPr sz="1260"/>
            </a:lvl5pPr>
            <a:lvl6pPr marL="1799768" indent="0" algn="ctr">
              <a:buNone/>
              <a:defRPr sz="1260"/>
            </a:lvl6pPr>
            <a:lvl7pPr marL="2159721" indent="0" algn="ctr">
              <a:buNone/>
              <a:defRPr sz="1260"/>
            </a:lvl7pPr>
            <a:lvl8pPr marL="2519675" indent="0" algn="ctr">
              <a:buNone/>
              <a:defRPr sz="1260"/>
            </a:lvl8pPr>
            <a:lvl9pPr marL="2879628" indent="0" algn="ctr">
              <a:buNone/>
              <a:defRPr sz="12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2368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39379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152009" y="574987"/>
            <a:ext cx="1552352" cy="91523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4953" y="574987"/>
            <a:ext cx="4567064" cy="91523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3869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08260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204" y="2692444"/>
            <a:ext cx="6209407" cy="4492401"/>
          </a:xfrm>
        </p:spPr>
        <p:txBody>
          <a:bodyPr anchor="b"/>
          <a:lstStyle>
            <a:lvl1pPr>
              <a:defRPr sz="472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204" y="7227345"/>
            <a:ext cx="6209407" cy="2362447"/>
          </a:xfrm>
        </p:spPr>
        <p:txBody>
          <a:bodyPr/>
          <a:lstStyle>
            <a:lvl1pPr marL="0" indent="0">
              <a:buNone/>
              <a:defRPr sz="1890">
                <a:solidFill>
                  <a:schemeClr val="tx1"/>
                </a:solidFill>
              </a:defRPr>
            </a:lvl1pPr>
            <a:lvl2pPr marL="35995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19907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3pPr>
            <a:lvl4pPr marL="107986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39814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79976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59721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1967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79628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27111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953" y="2874937"/>
            <a:ext cx="3059708" cy="6852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44652" y="2874937"/>
            <a:ext cx="3059708" cy="6852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1236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1" y="574990"/>
            <a:ext cx="6209407" cy="208745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891" y="2647443"/>
            <a:ext cx="3045646" cy="129747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891" y="3944914"/>
            <a:ext cx="3045646" cy="5802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44652" y="2647443"/>
            <a:ext cx="3060646" cy="1297471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59954" indent="0">
              <a:buNone/>
              <a:defRPr sz="1575" b="1"/>
            </a:lvl2pPr>
            <a:lvl3pPr marL="719907" indent="0">
              <a:buNone/>
              <a:defRPr sz="1417" b="1"/>
            </a:lvl3pPr>
            <a:lvl4pPr marL="1079861" indent="0">
              <a:buNone/>
              <a:defRPr sz="1260" b="1"/>
            </a:lvl4pPr>
            <a:lvl5pPr marL="1439814" indent="0">
              <a:buNone/>
              <a:defRPr sz="1260" b="1"/>
            </a:lvl5pPr>
            <a:lvl6pPr marL="1799768" indent="0">
              <a:buNone/>
              <a:defRPr sz="1260" b="1"/>
            </a:lvl6pPr>
            <a:lvl7pPr marL="2159721" indent="0">
              <a:buNone/>
              <a:defRPr sz="1260" b="1"/>
            </a:lvl7pPr>
            <a:lvl8pPr marL="2519675" indent="0">
              <a:buNone/>
              <a:defRPr sz="1260" b="1"/>
            </a:lvl8pPr>
            <a:lvl9pPr marL="2879628" indent="0">
              <a:buNone/>
              <a:defRPr sz="12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644652" y="3944914"/>
            <a:ext cx="3060646" cy="5802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50130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62523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05552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719984"/>
            <a:ext cx="2321966" cy="2519945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0646" y="1554968"/>
            <a:ext cx="3644652" cy="7674832"/>
          </a:xfrm>
        </p:spPr>
        <p:txBody>
          <a:bodyPr/>
          <a:lstStyle>
            <a:lvl1pPr>
              <a:defRPr sz="2519"/>
            </a:lvl1pPr>
            <a:lvl2pPr>
              <a:defRPr sz="2204"/>
            </a:lvl2pPr>
            <a:lvl3pPr>
              <a:defRPr sz="189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3239929"/>
            <a:ext cx="2321966" cy="6002369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827174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890" y="719984"/>
            <a:ext cx="2321966" cy="2519945"/>
          </a:xfrm>
        </p:spPr>
        <p:txBody>
          <a:bodyPr anchor="b"/>
          <a:lstStyle>
            <a:lvl1pPr>
              <a:defRPr sz="25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060646" y="1554968"/>
            <a:ext cx="3644652" cy="7674832"/>
          </a:xfrm>
        </p:spPr>
        <p:txBody>
          <a:bodyPr anchor="t"/>
          <a:lstStyle>
            <a:lvl1pPr marL="0" indent="0">
              <a:buNone/>
              <a:defRPr sz="2519"/>
            </a:lvl1pPr>
            <a:lvl2pPr marL="359954" indent="0">
              <a:buNone/>
              <a:defRPr sz="2204"/>
            </a:lvl2pPr>
            <a:lvl3pPr marL="719907" indent="0">
              <a:buNone/>
              <a:defRPr sz="1890"/>
            </a:lvl3pPr>
            <a:lvl4pPr marL="1079861" indent="0">
              <a:buNone/>
              <a:defRPr sz="1575"/>
            </a:lvl4pPr>
            <a:lvl5pPr marL="1439814" indent="0">
              <a:buNone/>
              <a:defRPr sz="1575"/>
            </a:lvl5pPr>
            <a:lvl6pPr marL="1799768" indent="0">
              <a:buNone/>
              <a:defRPr sz="1575"/>
            </a:lvl6pPr>
            <a:lvl7pPr marL="2159721" indent="0">
              <a:buNone/>
              <a:defRPr sz="1575"/>
            </a:lvl7pPr>
            <a:lvl8pPr marL="2519675" indent="0">
              <a:buNone/>
              <a:defRPr sz="1575"/>
            </a:lvl8pPr>
            <a:lvl9pPr marL="2879628" indent="0">
              <a:buNone/>
              <a:defRPr sz="1575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890" y="3239929"/>
            <a:ext cx="2321966" cy="6002369"/>
          </a:xfrm>
        </p:spPr>
        <p:txBody>
          <a:bodyPr/>
          <a:lstStyle>
            <a:lvl1pPr marL="0" indent="0">
              <a:buNone/>
              <a:defRPr sz="1260"/>
            </a:lvl1pPr>
            <a:lvl2pPr marL="359954" indent="0">
              <a:buNone/>
              <a:defRPr sz="1102"/>
            </a:lvl2pPr>
            <a:lvl3pPr marL="719907" indent="0">
              <a:buNone/>
              <a:defRPr sz="945"/>
            </a:lvl3pPr>
            <a:lvl4pPr marL="1079861" indent="0">
              <a:buNone/>
              <a:defRPr sz="787"/>
            </a:lvl4pPr>
            <a:lvl5pPr marL="1439814" indent="0">
              <a:buNone/>
              <a:defRPr sz="787"/>
            </a:lvl5pPr>
            <a:lvl6pPr marL="1799768" indent="0">
              <a:buNone/>
              <a:defRPr sz="787"/>
            </a:lvl6pPr>
            <a:lvl7pPr marL="2159721" indent="0">
              <a:buNone/>
              <a:defRPr sz="787"/>
            </a:lvl7pPr>
            <a:lvl8pPr marL="2519675" indent="0">
              <a:buNone/>
              <a:defRPr sz="787"/>
            </a:lvl8pPr>
            <a:lvl9pPr marL="2879628" indent="0">
              <a:buNone/>
              <a:defRPr sz="78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8882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4953" y="574990"/>
            <a:ext cx="6209407" cy="2087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953" y="2874937"/>
            <a:ext cx="6209407" cy="6852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4953" y="10009783"/>
            <a:ext cx="1619845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527B8-DA09-4645-8BF9-9A22A905C615}" type="datetimeFigureOut">
              <a:rPr lang="pt-PT" smtClean="0"/>
              <a:t>28/03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84773" y="10009783"/>
            <a:ext cx="2429768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4515" y="10009783"/>
            <a:ext cx="1619845" cy="5749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987A6-4C1C-47BD-A0C5-D4B1BE4043F4}" type="slidenum">
              <a:rPr lang="pt-PT" smtClean="0"/>
              <a:t>‹#›</a:t>
            </a:fld>
            <a:endParaRPr lang="pt-PT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74057D7-A26E-6E38-7454-C67B3BA667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74422365"/>
              </p:ext>
            </p:extLst>
          </p:nvPr>
        </p:nvGraphicFramePr>
        <p:xfrm>
          <a:off x="938" y="2501"/>
          <a:ext cx="938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8619A0-2DE2-F951-46B7-E923EBAFF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938" y="2501"/>
                        <a:ext cx="938" cy="2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182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19907" rtl="0" eaLnBrk="1" latinLnBrk="0" hangingPunct="1">
        <a:lnSpc>
          <a:spcPct val="90000"/>
        </a:lnSpc>
        <a:spcBef>
          <a:spcPct val="0"/>
        </a:spcBef>
        <a:buNone/>
        <a:defRPr sz="346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7" indent="-179977" algn="l" defTabSz="719907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204" kern="1200">
          <a:solidFill>
            <a:schemeClr val="tx1"/>
          </a:solidFill>
          <a:latin typeface="+mn-lt"/>
          <a:ea typeface="+mn-ea"/>
          <a:cs typeface="+mn-cs"/>
        </a:defRPr>
      </a:lvl1pPr>
      <a:lvl2pPr marL="539930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899884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59837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619791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97974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339698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699652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3059605" indent="-179977" algn="l" defTabSz="719907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5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07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86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814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76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721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675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628" algn="l" defTabSz="719907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15DA4F3-A97B-CB48-1785-F341831093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0946636"/>
              </p:ext>
            </p:extLst>
          </p:nvPr>
        </p:nvGraphicFramePr>
        <p:xfrm>
          <a:off x="937" y="3376012"/>
          <a:ext cx="938" cy="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37" y="3376012"/>
                        <a:ext cx="938" cy="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35401D9E-A28C-40A1-C829-A1667ED9B4A9}"/>
              </a:ext>
            </a:extLst>
          </p:cNvPr>
          <p:cNvGrpSpPr/>
          <p:nvPr/>
        </p:nvGrpSpPr>
        <p:grpSpPr>
          <a:xfrm>
            <a:off x="0" y="0"/>
            <a:ext cx="7199313" cy="1364987"/>
            <a:chOff x="0" y="0"/>
            <a:chExt cx="7199313" cy="136498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3830054-2903-9A36-061F-F9EE22DFC5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219"/>
            <a:stretch/>
          </p:blipFill>
          <p:spPr>
            <a:xfrm>
              <a:off x="0" y="0"/>
              <a:ext cx="6984461" cy="1364987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EFDA14D-0544-D2D5-9E60-8820DE1804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96924" t="3219"/>
            <a:stretch/>
          </p:blipFill>
          <p:spPr>
            <a:xfrm>
              <a:off x="6984461" y="0"/>
              <a:ext cx="214852" cy="1364987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D119620A-810F-3433-2AE8-500B7E10493C}"/>
              </a:ext>
            </a:extLst>
          </p:cNvPr>
          <p:cNvSpPr/>
          <p:nvPr/>
        </p:nvSpPr>
        <p:spPr>
          <a:xfrm>
            <a:off x="83128" y="1807454"/>
            <a:ext cx="7033056" cy="830261"/>
          </a:xfrm>
          <a:prstGeom prst="rect">
            <a:avLst/>
          </a:prstGeom>
          <a:solidFill>
            <a:srgbClr val="EFF9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dirty="0">
                <a:solidFill>
                  <a:srgbClr val="4C4D4F"/>
                </a:solidFill>
                <a:latin typeface="Arial MT"/>
                <a:cs typeface="Arial MT"/>
              </a:rPr>
              <a:t>[TEXTO]</a:t>
            </a:r>
            <a:endParaRPr lang="pt-PT" dirty="0"/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74650926-839C-3D06-8785-C6D7336BD5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28" y="1469318"/>
            <a:ext cx="7033056" cy="338137"/>
          </a:xfrm>
          <a:prstGeom prst="rect">
            <a:avLst/>
          </a:prstGeom>
          <a:solidFill>
            <a:srgbClr val="F15A54"/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GB" altLang="en-PT" sz="1600" i="1" dirty="0" err="1">
                <a:solidFill>
                  <a:schemeClr val="bg1"/>
                </a:solidFill>
                <a:latin typeface="Codec Pro Variable ExtraBold Th" pitchFamily="2" charset="0"/>
              </a:rPr>
              <a:t>título</a:t>
            </a:r>
            <a:endParaRPr lang="en-GB" altLang="en-PT" sz="1600" i="1" dirty="0">
              <a:solidFill>
                <a:schemeClr val="bg1"/>
              </a:solidFill>
              <a:latin typeface="Codec Pro Variable ExtraBold Th" pitchFamily="2" charset="0"/>
            </a:endParaRPr>
          </a:p>
        </p:txBody>
      </p:sp>
      <p:pic>
        <p:nvPicPr>
          <p:cNvPr id="13" name="Picture 46">
            <a:extLst>
              <a:ext uri="{FF2B5EF4-FFF2-40B4-BE49-F238E27FC236}">
                <a16:creationId xmlns:a16="http://schemas.microsoft.com/office/drawing/2014/main" id="{FFF781C6-C4A7-DF9A-CAB1-80BFC9BAF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28" y="2765956"/>
            <a:ext cx="3420000" cy="2859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bject 28">
            <a:extLst>
              <a:ext uri="{FF2B5EF4-FFF2-40B4-BE49-F238E27FC236}">
                <a16:creationId xmlns:a16="http://schemas.microsoft.com/office/drawing/2014/main" id="{351922E1-1998-C519-FC98-320FFF1A83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86" y="2770716"/>
            <a:ext cx="686750" cy="280846"/>
          </a:xfrm>
          <a:prstGeom prst="rect">
            <a:avLst/>
          </a:prstGeom>
          <a:solidFill>
            <a:srgbClr val="F15A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953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ts val="388"/>
              </a:spcBef>
            </a:pPr>
            <a:r>
              <a:rPr lang="pt-PT" altLang="en-PT" sz="1500" dirty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</a:t>
            </a:r>
            <a:endParaRPr lang="en-PT" altLang="en-PT" sz="15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5" name="Picture 46">
            <a:extLst>
              <a:ext uri="{FF2B5EF4-FFF2-40B4-BE49-F238E27FC236}">
                <a16:creationId xmlns:a16="http://schemas.microsoft.com/office/drawing/2014/main" id="{F6FBC0F8-1559-CF82-B0D3-8976292B8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027" y="2762898"/>
            <a:ext cx="3420000" cy="2859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object 28">
            <a:extLst>
              <a:ext uri="{FF2B5EF4-FFF2-40B4-BE49-F238E27FC236}">
                <a16:creationId xmlns:a16="http://schemas.microsoft.com/office/drawing/2014/main" id="{82EEEDE2-00A4-5086-7CF3-983C93B982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4027" y="2768924"/>
            <a:ext cx="686750" cy="280846"/>
          </a:xfrm>
          <a:prstGeom prst="rect">
            <a:avLst/>
          </a:prstGeom>
          <a:solidFill>
            <a:srgbClr val="F15A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953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ts val="388"/>
              </a:spcBef>
            </a:pPr>
            <a:r>
              <a:rPr lang="pt-PT" altLang="en-PT" sz="1500" dirty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</a:t>
            </a:r>
            <a:endParaRPr lang="en-PT" altLang="en-PT" sz="15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7" name="Picture 46">
            <a:extLst>
              <a:ext uri="{FF2B5EF4-FFF2-40B4-BE49-F238E27FC236}">
                <a16:creationId xmlns:a16="http://schemas.microsoft.com/office/drawing/2014/main" id="{541533D5-EE31-27D3-E7D5-C07DD7E262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27" y="5747771"/>
            <a:ext cx="3419999" cy="285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object 28">
            <a:extLst>
              <a:ext uri="{FF2B5EF4-FFF2-40B4-BE49-F238E27FC236}">
                <a16:creationId xmlns:a16="http://schemas.microsoft.com/office/drawing/2014/main" id="{23EC0B05-5043-1663-51B5-4316BA8301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86" y="5752531"/>
            <a:ext cx="686750" cy="280846"/>
          </a:xfrm>
          <a:prstGeom prst="rect">
            <a:avLst/>
          </a:prstGeom>
          <a:solidFill>
            <a:srgbClr val="F15A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953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ts val="388"/>
              </a:spcBef>
            </a:pPr>
            <a:r>
              <a:rPr lang="pt-PT" altLang="en-PT" sz="1500" dirty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</a:t>
            </a:r>
            <a:endParaRPr lang="en-PT" altLang="en-PT" sz="15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9" name="Picture 46">
            <a:extLst>
              <a:ext uri="{FF2B5EF4-FFF2-40B4-BE49-F238E27FC236}">
                <a16:creationId xmlns:a16="http://schemas.microsoft.com/office/drawing/2014/main" id="{62B76F52-7D47-4466-9F6F-9817A9DCD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027" y="5740676"/>
            <a:ext cx="3420000" cy="2865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bject 28">
            <a:extLst>
              <a:ext uri="{FF2B5EF4-FFF2-40B4-BE49-F238E27FC236}">
                <a16:creationId xmlns:a16="http://schemas.microsoft.com/office/drawing/2014/main" id="{D8CD9574-1291-8097-2CA2-9ECDB460B9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4027" y="5746702"/>
            <a:ext cx="686750" cy="280846"/>
          </a:xfrm>
          <a:prstGeom prst="rect">
            <a:avLst/>
          </a:prstGeom>
          <a:solidFill>
            <a:srgbClr val="F15A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4953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ts val="388"/>
              </a:spcBef>
            </a:pPr>
            <a:r>
              <a:rPr lang="pt-PT" altLang="en-PT" sz="1500" dirty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</a:t>
            </a:r>
            <a:endParaRPr lang="en-PT" altLang="en-PT" sz="15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1609D26-1E4E-3262-FE80-B0EDD1B4AC89}"/>
              </a:ext>
            </a:extLst>
          </p:cNvPr>
          <p:cNvSpPr/>
          <p:nvPr/>
        </p:nvSpPr>
        <p:spPr>
          <a:xfrm>
            <a:off x="83127" y="8732644"/>
            <a:ext cx="7008741" cy="1760258"/>
          </a:xfrm>
          <a:prstGeom prst="rect">
            <a:avLst/>
          </a:prstGeom>
          <a:solidFill>
            <a:srgbClr val="EFF9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800">
                <a:solidFill>
                  <a:srgbClr val="4C4D4F"/>
                </a:solidFill>
                <a:latin typeface="Arial MT"/>
                <a:cs typeface="Arial MT"/>
              </a:rPr>
              <a:t>[TEXTO]</a:t>
            </a:r>
            <a:endParaRPr lang="pt-PT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5EFA20-CDF6-5E79-EE64-48DAE7B3F946}"/>
              </a:ext>
            </a:extLst>
          </p:cNvPr>
          <p:cNvSpPr/>
          <p:nvPr/>
        </p:nvSpPr>
        <p:spPr>
          <a:xfrm>
            <a:off x="0" y="10700426"/>
            <a:ext cx="7199313" cy="99337"/>
          </a:xfrm>
          <a:prstGeom prst="rect">
            <a:avLst/>
          </a:prstGeom>
          <a:solidFill>
            <a:srgbClr val="F15A54"/>
          </a:solidFill>
          <a:ln>
            <a:solidFill>
              <a:srgbClr val="F15A5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5921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7</TotalTime>
  <Words>11</Words>
  <Application>Microsoft Office PowerPoint</Application>
  <PresentationFormat>Custom</PresentationFormat>
  <Paragraphs>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MT</vt:lpstr>
      <vt:lpstr>Calibri</vt:lpstr>
      <vt:lpstr>Calibri Light</vt:lpstr>
      <vt:lpstr>Codec Pro Variable ExtraBold Th</vt:lpstr>
      <vt:lpstr>Lucida Sans Unicode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ão Muge</dc:creator>
  <cp:lastModifiedBy>João Muge</cp:lastModifiedBy>
  <cp:revision>1</cp:revision>
  <dcterms:created xsi:type="dcterms:W3CDTF">2024-03-28T18:36:18Z</dcterms:created>
  <dcterms:modified xsi:type="dcterms:W3CDTF">2024-03-28T18:44:09Z</dcterms:modified>
</cp:coreProperties>
</file>